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147471558" r:id="rId2"/>
    <p:sldId id="257" r:id="rId3"/>
    <p:sldId id="2147471555" r:id="rId4"/>
    <p:sldId id="258" r:id="rId5"/>
    <p:sldId id="2147471557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9" autoAdjust="0"/>
    <p:restoredTop sz="94660"/>
  </p:normalViewPr>
  <p:slideViewPr>
    <p:cSldViewPr snapToGrid="0">
      <p:cViewPr varScale="1">
        <p:scale>
          <a:sx n="152" d="100"/>
          <a:sy n="152" d="100"/>
        </p:scale>
        <p:origin x="5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371224-AEC0-4898-8C95-88618A3BC2BA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69B2C9-73C9-4F82-BBF6-88FF320D8C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622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71D882-7375-1DC9-D895-94AD9E023D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B47827-EB2E-9E64-943D-670C3ABABE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7A1B9D-3A2E-7506-9671-E6A477C498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C5F91B-9AB6-20CE-CD75-F144F1E435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4422A0-562B-4146-9115-8BC8E6665D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7114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1.png"/><Relationship Id="rId7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1B9BF1-D805-D351-52A1-BE670FC3AC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DBFB4F-D006-6797-DBC1-40042BA17D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C20CDC-B517-7DE3-CF8E-417B8750D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63BB15-C24D-BC6C-6DDF-30A93A988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9A2112-FD50-8E52-B11E-9D3487A33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1948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44BE52-447F-0D61-A9A6-4F09B944D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7DBE1C-6F99-7CBA-A953-C3D2BF9D49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41EDA6-27E7-F5F7-667F-A654FBBC6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664C86-15D3-417F-D554-45C9728A9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0E3DE6-CC76-D072-0FDB-E93CD846C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787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FA124E-4B04-DE81-421D-2A210FBAB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4BEA36-D05A-F6B6-75B2-638A2266A3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0DDC39-8B2A-D8C4-7AF8-38A38D564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39B601-8C74-059E-5E90-54E46455C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74E4E-E6EC-17C5-A404-DDA49A64D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06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2AA0BD1-32A6-DA4B-99F3-1DE819C495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4852820-563D-B34C-B187-D9EBBE94A4ED}"/>
              </a:ext>
            </a:extLst>
          </p:cNvPr>
          <p:cNvSpPr/>
          <p:nvPr/>
        </p:nvSpPr>
        <p:spPr>
          <a:xfrm>
            <a:off x="0" y="6585995"/>
            <a:ext cx="12192000" cy="272005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rgbClr val="00206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69AE41-A85B-CD40-A663-C0CBE679971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045" y="5339078"/>
            <a:ext cx="2647595" cy="15189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15868E5-18BB-C746-B77D-81AE233A393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96520" y="5592282"/>
            <a:ext cx="2206240" cy="12657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4019FBE-C390-214F-BA1C-9FB70B47D87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5665" y="6015207"/>
            <a:ext cx="1689652" cy="969351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2FF439D-87B4-1C44-9797-F42AA858EF5C}"/>
              </a:ext>
            </a:extLst>
          </p:cNvPr>
          <p:cNvSpPr txBox="1">
            <a:spLocks/>
          </p:cNvSpPr>
          <p:nvPr/>
        </p:nvSpPr>
        <p:spPr>
          <a:xfrm>
            <a:off x="9287153" y="654154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4916EB2-9D73-A049-9085-90551FE8DE60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096FF5B-EFF2-0D48-9785-A7325AE7D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 b="1">
                <a:solidFill>
                  <a:schemeClr val="tx1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content slid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754E0FB-C6E9-DF42-BAA7-EDD5CFBE65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1789906"/>
            <a:ext cx="6264275" cy="2478088"/>
          </a:xfrm>
        </p:spPr>
        <p:txBody>
          <a:bodyPr/>
          <a:lstStyle>
            <a:lvl1pPr>
              <a:buNone/>
              <a:defRPr sz="1800">
                <a:latin typeface="Helvetica" pitchFamily="2" charset="0"/>
              </a:defRPr>
            </a:lvl1pPr>
            <a:lvl2pPr>
              <a:defRPr sz="1800">
                <a:latin typeface="Helvetica" pitchFamily="2" charset="0"/>
              </a:defRPr>
            </a:lvl2pPr>
            <a:lvl3pPr>
              <a:buSzPct val="80000"/>
              <a:buFont typeface=".Lucida Grande UI Regular"/>
              <a:buChar char="―"/>
              <a:defRPr sz="1800">
                <a:latin typeface="Helvetica" pitchFamily="2" charset="0"/>
              </a:defRPr>
            </a:lvl3pPr>
            <a:lvl4pPr>
              <a:defRPr sz="1800">
                <a:latin typeface="Helvetica" pitchFamily="2" charset="0"/>
              </a:defRPr>
            </a:lvl4pPr>
            <a:lvl5pPr>
              <a:defRPr sz="1800">
                <a:latin typeface="Helvetica" pitchFamily="2" charset="0"/>
              </a:defRPr>
            </a:lvl5pPr>
          </a:lstStyle>
          <a:p>
            <a:pPr lvl="0"/>
            <a:r>
              <a:rPr lang="en-US"/>
              <a:t>Click to edit content slide </a:t>
            </a:r>
            <a:r>
              <a:rPr lang="en-US" err="1"/>
              <a:t>subcopy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9FDC498-B1DC-4575-BB8B-AB73C6A07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9FDC498-B1DC-4575-BB8B-AB73C6A07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3EA5E092-D1E9-4C67-A0F0-32BEBF02A4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0" y="6605045"/>
            <a:ext cx="251222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>
                <a:solidFill>
                  <a:schemeClr val="bg1"/>
                </a:solidFill>
              </a:rPr>
              <a:t>Confidential – For Internal MSHS Use Only</a:t>
            </a:r>
          </a:p>
        </p:txBody>
      </p:sp>
    </p:spTree>
    <p:extLst>
      <p:ext uri="{BB962C8B-B14F-4D97-AF65-F5344CB8AC3E}">
        <p14:creationId xmlns:p14="http://schemas.microsoft.com/office/powerpoint/2010/main" val="2393660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45D1A3-CEAE-9030-45D2-900F7A344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E0ED5F-1D37-AE01-4CF6-0F8372AF87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46A61D-9B69-0603-EA31-A31797DB9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8953C0-1395-C25E-B9B1-C6A40A661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ABDF27-5AFE-35FD-9FB5-F3240435E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438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FEADC-4FDD-8E08-FE46-7A3C9CC55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4C2207-14C6-DBB1-12EB-89F0A287C1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499FBC-E771-5386-1C4E-E83DE45D8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428BCE-91FA-BDA2-7EAC-CCE50D30C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E1FC36-DE77-2E67-9D5B-92036E145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38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65DB9-A21B-499D-B772-54A223A2B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543989-BEE9-EEF3-BB70-6C0D37BDC6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FD8974-7189-EC06-843D-43C5D56684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E65A72-31F0-0404-CDF3-4D815E488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692B4D-916D-75E3-EF76-D7FCF2F66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F5D68B-E4AD-9F78-556C-9CB8BB76C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895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40606-72E2-E3CC-A3B9-A1460FD69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5E24B-04D2-3CF2-247F-373F051C2B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867324-3DD4-8F80-7608-65B0C27363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263FD9-8A6D-CCE0-CC4C-83EED7AE21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52EA131-8CD9-847E-0F4C-660C797443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A4A42CA-41DB-937D-E8E2-8173998102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F965DD1-E8B0-28EC-C1BE-9CD9F97C6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2EEC1-7319-DE70-6093-8AA47699F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027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EB5357-E4EF-248C-DA9D-B0D60FD60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41D589-18B1-B227-9584-B727DA13B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91E412-372A-7F41-20A2-1D715F146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669206-DFD7-CB53-0E17-E38CD66A6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927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CC1298-B1CC-C9EF-5232-B330BECA3F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ED6DC4-242D-BEE4-4C3F-C345E2BEA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E9F57D-2A8E-A402-542F-203CDF573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763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998D6B-35FB-2F0C-D74F-53781144F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E8E44E-3CB4-C32E-72F7-4C92182A07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90BF1B-5BDC-B092-CD6F-7F630AB54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83AD77-5A97-7B40-6F98-77DF7727CD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D7748B-4BA7-CBA4-2495-36FD8E5AE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3A317A-1AE3-CF09-2C8C-4C8E9256B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011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255BC-E6DA-858C-91A1-A93EC5DAD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EC05907-29D9-65A8-9803-73F0E21B84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8239A5-EBB5-BDCB-C5FF-07D1F4E00C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49C38C-08BD-CA5C-1099-CB240CAE0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8152BB-458A-E860-6C61-BC837A852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1DDA0B-AA03-5CA8-A036-36D748EB2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703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A71DBA-8B56-F4E4-48BD-5F428754F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11BF1-4B8C-138D-9C03-644428DCBB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C25281-A4D7-C452-236C-7349B093B9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1F8BCE9-AFB0-40E4-9FE6-3615BF3EA890}" type="datetimeFigureOut">
              <a:rPr lang="en-US" smtClean="0"/>
              <a:t>4/2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B2062-1076-262E-5933-E4BF63832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C9017-4665-ADE2-DB3A-15FDA28638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AE41DA6-F5C0-4E69-A69E-98497BD372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668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453A747-1397-B78C-9A52-19E0C72D40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t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409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6F1FD9E-9A12-D634-26FC-A104386B8D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b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73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681E83-86D9-77FE-892D-DDCED0F18D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2605EB0-A3EB-C54B-5BA5-A1C88DE320F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71438"/>
            <a:ext cx="10515600" cy="677862"/>
          </a:xfrm>
        </p:spPr>
        <p:txBody>
          <a:bodyPr>
            <a:normAutofit/>
          </a:bodyPr>
          <a:lstStyle/>
          <a:p>
            <a:pPr algn="ctr"/>
            <a:r>
              <a:rPr lang="en-US" sz="2400" u="sng" dirty="0"/>
              <a:t>Artificial &amp; Robotic Process Automation</a:t>
            </a:r>
          </a:p>
        </p:txBody>
      </p:sp>
      <p:sp>
        <p:nvSpPr>
          <p:cNvPr id="5" name="Arrow: Left-Right 4">
            <a:extLst>
              <a:ext uri="{FF2B5EF4-FFF2-40B4-BE49-F238E27FC236}">
                <a16:creationId xmlns:a16="http://schemas.microsoft.com/office/drawing/2014/main" id="{7C72C0E6-7A3B-B9D1-B423-077AAA3A5610}"/>
              </a:ext>
            </a:extLst>
          </p:cNvPr>
          <p:cNvSpPr/>
          <p:nvPr/>
        </p:nvSpPr>
        <p:spPr>
          <a:xfrm>
            <a:off x="640279" y="3014734"/>
            <a:ext cx="11076320" cy="247220"/>
          </a:xfrm>
          <a:prstGeom prst="left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: Up-Down 5">
            <a:extLst>
              <a:ext uri="{FF2B5EF4-FFF2-40B4-BE49-F238E27FC236}">
                <a16:creationId xmlns:a16="http://schemas.microsoft.com/office/drawing/2014/main" id="{CADC1646-7E50-4F21-458D-A711FA72CB09}"/>
              </a:ext>
            </a:extLst>
          </p:cNvPr>
          <p:cNvSpPr/>
          <p:nvPr/>
        </p:nvSpPr>
        <p:spPr>
          <a:xfrm>
            <a:off x="2878690" y="802575"/>
            <a:ext cx="409575" cy="5451141"/>
          </a:xfrm>
          <a:prstGeom prst="upDown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9B72671-3444-F1BD-5357-7D7208601881}"/>
              </a:ext>
            </a:extLst>
          </p:cNvPr>
          <p:cNvSpPr txBox="1"/>
          <p:nvPr/>
        </p:nvSpPr>
        <p:spPr>
          <a:xfrm>
            <a:off x="1944108" y="458125"/>
            <a:ext cx="2305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2145F3A-8C4F-3A91-04BA-7ADC23E11569}"/>
              </a:ext>
            </a:extLst>
          </p:cNvPr>
          <p:cNvSpPr txBox="1"/>
          <p:nvPr/>
        </p:nvSpPr>
        <p:spPr>
          <a:xfrm>
            <a:off x="1944108" y="6218086"/>
            <a:ext cx="2305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Clinical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73B111B-C6C9-693E-5E66-2CF6A8465B8F}"/>
              </a:ext>
            </a:extLst>
          </p:cNvPr>
          <p:cNvSpPr txBox="1"/>
          <p:nvPr/>
        </p:nvSpPr>
        <p:spPr>
          <a:xfrm rot="16200000">
            <a:off x="-696912" y="3376159"/>
            <a:ext cx="2305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Facing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D2B6670-A849-B36E-315C-AA0DCC2098A5}"/>
              </a:ext>
            </a:extLst>
          </p:cNvPr>
          <p:cNvSpPr txBox="1"/>
          <p:nvPr/>
        </p:nvSpPr>
        <p:spPr>
          <a:xfrm rot="5400000">
            <a:off x="10839073" y="3363829"/>
            <a:ext cx="2305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sional  Fac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390B81-2C4F-4694-713D-AF0EF683493B}"/>
              </a:ext>
            </a:extLst>
          </p:cNvPr>
          <p:cNvSpPr/>
          <p:nvPr/>
        </p:nvSpPr>
        <p:spPr>
          <a:xfrm>
            <a:off x="3296795" y="3809495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Basket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tegoriz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94E396-E041-3A07-DA5B-10AF450C7BE4}"/>
              </a:ext>
            </a:extLst>
          </p:cNvPr>
          <p:cNvSpPr/>
          <p:nvPr/>
        </p:nvSpPr>
        <p:spPr>
          <a:xfrm>
            <a:off x="8370263" y="6112695"/>
            <a:ext cx="983458" cy="2798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by Vendo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97101A-4081-112C-2785-7FBFCCC45115}"/>
              </a:ext>
            </a:extLst>
          </p:cNvPr>
          <p:cNvSpPr/>
          <p:nvPr/>
        </p:nvSpPr>
        <p:spPr>
          <a:xfrm>
            <a:off x="9436442" y="6112695"/>
            <a:ext cx="983458" cy="2798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 by Internal Develop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D6A71E0-0259-DE59-E643-94861B8EE3AB}"/>
              </a:ext>
            </a:extLst>
          </p:cNvPr>
          <p:cNvSpPr/>
          <p:nvPr/>
        </p:nvSpPr>
        <p:spPr>
          <a:xfrm>
            <a:off x="10502621" y="6113781"/>
            <a:ext cx="983458" cy="2798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A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0B4C24-24D2-91AA-E356-A98A4E04B86B}"/>
              </a:ext>
            </a:extLst>
          </p:cNvPr>
          <p:cNvSpPr/>
          <p:nvPr/>
        </p:nvSpPr>
        <p:spPr>
          <a:xfrm>
            <a:off x="4360194" y="84921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 of Unplanned Readmiss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03B2C6E-8C15-CDC3-C5E1-824EC8DFCD6D}"/>
              </a:ext>
            </a:extLst>
          </p:cNvPr>
          <p:cNvSpPr/>
          <p:nvPr/>
        </p:nvSpPr>
        <p:spPr>
          <a:xfrm>
            <a:off x="4360194" y="3809495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k of Patient No Show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6C4579-D564-952F-4895-7195D6B45CB2}"/>
              </a:ext>
            </a:extLst>
          </p:cNvPr>
          <p:cNvSpPr/>
          <p:nvPr/>
        </p:nvSpPr>
        <p:spPr>
          <a:xfrm>
            <a:off x="5418892" y="3809495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 Meeting AI Compan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0235D2-332F-7ADB-173F-752AC7ECC4D6}"/>
              </a:ext>
            </a:extLst>
          </p:cNvPr>
          <p:cNvSpPr/>
          <p:nvPr/>
        </p:nvSpPr>
        <p:spPr>
          <a:xfrm>
            <a:off x="1916130" y="3268823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edule Appt (existing patients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45BB2B-DFB3-5FAC-FEFC-52E56F2AB8B3}"/>
              </a:ext>
            </a:extLst>
          </p:cNvPr>
          <p:cNvSpPr/>
          <p:nvPr/>
        </p:nvSpPr>
        <p:spPr>
          <a:xfrm>
            <a:off x="1916130" y="3809495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wer FAQ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22E626-3AA1-EFC7-8944-78EAC5A3BB03}"/>
              </a:ext>
            </a:extLst>
          </p:cNvPr>
          <p:cNvSpPr/>
          <p:nvPr/>
        </p:nvSpPr>
        <p:spPr>
          <a:xfrm>
            <a:off x="6485324" y="3809495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Command Center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A776EB-3235-B72C-8578-3316EAB1AB0D}"/>
              </a:ext>
            </a:extLst>
          </p:cNvPr>
          <p:cNvSpPr/>
          <p:nvPr/>
        </p:nvSpPr>
        <p:spPr>
          <a:xfrm>
            <a:off x="4360194" y="1400957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e Pathway Navig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808BB9-8B8C-0A8F-1BE2-C4195611DA82}"/>
              </a:ext>
            </a:extLst>
          </p:cNvPr>
          <p:cNvSpPr/>
          <p:nvPr/>
        </p:nvSpPr>
        <p:spPr>
          <a:xfrm>
            <a:off x="1908388" y="193629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mptom Check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5C62467-284F-B2E3-C78B-D09B1672611E}"/>
              </a:ext>
            </a:extLst>
          </p:cNvPr>
          <p:cNvSpPr/>
          <p:nvPr/>
        </p:nvSpPr>
        <p:spPr>
          <a:xfrm>
            <a:off x="7556818" y="3268823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harge interven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D1A1C96-2A3A-61E3-94C4-A306CB47C0B1}"/>
              </a:ext>
            </a:extLst>
          </p:cNvPr>
          <p:cNvSpPr/>
          <p:nvPr/>
        </p:nvSpPr>
        <p:spPr>
          <a:xfrm>
            <a:off x="5418892" y="84921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lmonary Embolis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67326FB-CB1F-4431-4EE3-DF6138282EB5}"/>
              </a:ext>
            </a:extLst>
          </p:cNvPr>
          <p:cNvSpPr/>
          <p:nvPr/>
        </p:nvSpPr>
        <p:spPr>
          <a:xfrm>
            <a:off x="5418892" y="1400957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acranial Hemorrhag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555D2-A8A3-82E7-238E-F89827CFD6D8}"/>
              </a:ext>
            </a:extLst>
          </p:cNvPr>
          <p:cNvSpPr/>
          <p:nvPr/>
        </p:nvSpPr>
        <p:spPr>
          <a:xfrm>
            <a:off x="6485324" y="84921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ssel Obstruc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8D51DDD-E033-9043-A5F4-87CC745775C7}"/>
              </a:ext>
            </a:extLst>
          </p:cNvPr>
          <p:cNvSpPr/>
          <p:nvPr/>
        </p:nvSpPr>
        <p:spPr>
          <a:xfrm>
            <a:off x="6485324" y="1400957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eumothorax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1F7DB33-66C0-F84B-AD3D-020DAB4ACBDB}"/>
              </a:ext>
            </a:extLst>
          </p:cNvPr>
          <p:cNvSpPr/>
          <p:nvPr/>
        </p:nvSpPr>
        <p:spPr>
          <a:xfrm>
            <a:off x="7556818" y="84921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b Fracture (CT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5128FF6-516F-F336-DA6D-98EA542F6654}"/>
              </a:ext>
            </a:extLst>
          </p:cNvPr>
          <p:cNvSpPr/>
          <p:nvPr/>
        </p:nvSpPr>
        <p:spPr>
          <a:xfrm>
            <a:off x="7556818" y="1400957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bral Spine Fract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DC18091-A65C-0CB7-39C1-0632A6668E7D}"/>
              </a:ext>
            </a:extLst>
          </p:cNvPr>
          <p:cNvSpPr/>
          <p:nvPr/>
        </p:nvSpPr>
        <p:spPr>
          <a:xfrm>
            <a:off x="8625442" y="84921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eumoperitoneum (Free Air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ECDDBC-9D59-3F00-8054-766F5F1E13F3}"/>
              </a:ext>
            </a:extLst>
          </p:cNvPr>
          <p:cNvSpPr/>
          <p:nvPr/>
        </p:nvSpPr>
        <p:spPr>
          <a:xfrm>
            <a:off x="8625442" y="1400957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ast Ultrasoun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D45CED3-CD88-5A8C-6401-62943686D3D3}"/>
              </a:ext>
            </a:extLst>
          </p:cNvPr>
          <p:cNvSpPr/>
          <p:nvPr/>
        </p:nvSpPr>
        <p:spPr>
          <a:xfrm>
            <a:off x="3296795" y="1400957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mmograph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6BAA0EF-209D-8AED-8075-AE94DCCB2FE3}"/>
              </a:ext>
            </a:extLst>
          </p:cNvPr>
          <p:cNvSpPr/>
          <p:nvPr/>
        </p:nvSpPr>
        <p:spPr>
          <a:xfrm>
            <a:off x="3296795" y="849219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rt-Lung Incidental Lung Nodul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F25EC1B-EB6C-F21F-0B7E-10D10E695093}"/>
              </a:ext>
            </a:extLst>
          </p:cNvPr>
          <p:cNvSpPr/>
          <p:nvPr/>
        </p:nvSpPr>
        <p:spPr>
          <a:xfrm>
            <a:off x="10733141" y="3268823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PI for developer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C528998-759C-C98C-28C3-471FA087199D}"/>
              </a:ext>
            </a:extLst>
          </p:cNvPr>
          <p:cNvSpPr/>
          <p:nvPr/>
        </p:nvSpPr>
        <p:spPr>
          <a:xfrm>
            <a:off x="8625442" y="3268823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hology Cod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BD4BFC0-48FB-C57E-D687-CDE036157F3A}"/>
              </a:ext>
            </a:extLst>
          </p:cNvPr>
          <p:cNvSpPr/>
          <p:nvPr/>
        </p:nvSpPr>
        <p:spPr>
          <a:xfrm>
            <a:off x="6485324" y="193629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gression Risk Predic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BE01D9A-F020-54E6-F62D-A2EB8A5BCDAA}"/>
              </a:ext>
            </a:extLst>
          </p:cNvPr>
          <p:cNvSpPr/>
          <p:nvPr/>
        </p:nvSpPr>
        <p:spPr>
          <a:xfrm>
            <a:off x="7556818" y="193629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PD Patient Identific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305D07B-3432-AA88-36C3-952FFB448261}"/>
              </a:ext>
            </a:extLst>
          </p:cNvPr>
          <p:cNvSpPr/>
          <p:nvPr/>
        </p:nvSpPr>
        <p:spPr>
          <a:xfrm>
            <a:off x="8625442" y="193629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logy Prognosis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07F741D-6D8A-A993-5649-A9CE625E47A9}"/>
              </a:ext>
            </a:extLst>
          </p:cNvPr>
          <p:cNvSpPr/>
          <p:nvPr/>
        </p:nvSpPr>
        <p:spPr>
          <a:xfrm>
            <a:off x="6485324" y="248578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Deterioration Predic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A21CB9A-9014-4E60-25B9-7217E2BD27D5}"/>
              </a:ext>
            </a:extLst>
          </p:cNvPr>
          <p:cNvSpPr/>
          <p:nvPr/>
        </p:nvSpPr>
        <p:spPr>
          <a:xfrm>
            <a:off x="4360194" y="193629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rium Risk Predic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A1F0BBB-8227-7BA8-9C91-CFDA9AB8AFE8}"/>
              </a:ext>
            </a:extLst>
          </p:cNvPr>
          <p:cNvSpPr/>
          <p:nvPr/>
        </p:nvSpPr>
        <p:spPr>
          <a:xfrm>
            <a:off x="5418892" y="193629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sure Injury Risk Predictio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F5184A6-B675-2A64-C428-684CE7C951B5}"/>
              </a:ext>
            </a:extLst>
          </p:cNvPr>
          <p:cNvSpPr/>
          <p:nvPr/>
        </p:nvSpPr>
        <p:spPr>
          <a:xfrm>
            <a:off x="5418892" y="248578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LDL Patient Identificatio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3F215CD-0EF5-BF68-D867-24B3C40482ED}"/>
              </a:ext>
            </a:extLst>
          </p:cNvPr>
          <p:cNvSpPr/>
          <p:nvPr/>
        </p:nvSpPr>
        <p:spPr>
          <a:xfrm>
            <a:off x="8625442" y="248578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astatic Risk Prediction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81954A8-7D79-23E3-D71E-1929D2CB306D}"/>
              </a:ext>
            </a:extLst>
          </p:cNvPr>
          <p:cNvSpPr/>
          <p:nvPr/>
        </p:nvSpPr>
        <p:spPr>
          <a:xfrm>
            <a:off x="7556818" y="248578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invasive respirator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5A1017E-EA26-6D44-F338-21B71036EADF}"/>
              </a:ext>
            </a:extLst>
          </p:cNvPr>
          <p:cNvSpPr/>
          <p:nvPr/>
        </p:nvSpPr>
        <p:spPr>
          <a:xfrm>
            <a:off x="3296795" y="248578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cal Imaging Pipelin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4510B8F-8716-0099-D183-C119256C0C29}"/>
              </a:ext>
            </a:extLst>
          </p:cNvPr>
          <p:cNvSpPr/>
          <p:nvPr/>
        </p:nvSpPr>
        <p:spPr>
          <a:xfrm>
            <a:off x="4360194" y="248578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nt Weaning Risk Predictio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7D6FC17-1C42-8360-6AB0-01A2D5363740}"/>
              </a:ext>
            </a:extLst>
          </p:cNvPr>
          <p:cNvSpPr/>
          <p:nvPr/>
        </p:nvSpPr>
        <p:spPr>
          <a:xfrm>
            <a:off x="3296795" y="1936299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lnutrition Risk Predic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F280145-66BA-C77B-28A7-ECBBF4FB559E}"/>
              </a:ext>
            </a:extLst>
          </p:cNvPr>
          <p:cNvSpPr/>
          <p:nvPr/>
        </p:nvSpPr>
        <p:spPr>
          <a:xfrm>
            <a:off x="5418892" y="3268823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ed Stigmatizing Languag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C681136-CDF8-1FC5-CE1E-0ACDAFB5E7E7}"/>
              </a:ext>
            </a:extLst>
          </p:cNvPr>
          <p:cNvSpPr/>
          <p:nvPr/>
        </p:nvSpPr>
        <p:spPr>
          <a:xfrm>
            <a:off x="6485324" y="3268823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gical Complication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753314B-DB1C-F3EE-A238-52B897D10FED}"/>
              </a:ext>
            </a:extLst>
          </p:cNvPr>
          <p:cNvSpPr/>
          <p:nvPr/>
        </p:nvSpPr>
        <p:spPr>
          <a:xfrm>
            <a:off x="4360194" y="3268823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-hour Discharge Planning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FF82ADA-7329-BFBC-9070-0E9319989563}"/>
              </a:ext>
            </a:extLst>
          </p:cNvPr>
          <p:cNvSpPr/>
          <p:nvPr/>
        </p:nvSpPr>
        <p:spPr>
          <a:xfrm>
            <a:off x="3296795" y="3268823"/>
            <a:ext cx="983458" cy="4697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 experience in Inpatien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7B1A0AF-48E7-90AB-C7BD-19EFD5391B40}"/>
              </a:ext>
            </a:extLst>
          </p:cNvPr>
          <p:cNvSpPr/>
          <p:nvPr/>
        </p:nvSpPr>
        <p:spPr>
          <a:xfrm>
            <a:off x="7556818" y="3809495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Terminatio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46DA82A-D28E-9AC6-F681-D0E15914B90C}"/>
              </a:ext>
            </a:extLst>
          </p:cNvPr>
          <p:cNvSpPr/>
          <p:nvPr/>
        </p:nvSpPr>
        <p:spPr>
          <a:xfrm>
            <a:off x="8625442" y="3809495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ent Form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0E46BAD-5D14-752D-3C4D-20D6FCE69BA8}"/>
              </a:ext>
            </a:extLst>
          </p:cNvPr>
          <p:cNvSpPr/>
          <p:nvPr/>
        </p:nvSpPr>
        <p:spPr>
          <a:xfrm>
            <a:off x="3296795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ror Managemen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02B0E243-7412-22F0-299F-A324AA41F3DB}"/>
              </a:ext>
            </a:extLst>
          </p:cNvPr>
          <p:cNvSpPr/>
          <p:nvPr/>
        </p:nvSpPr>
        <p:spPr>
          <a:xfrm>
            <a:off x="4360194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ff Competency Verification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8EA6C74-5FB1-5B18-552F-24F97F9E7FA4}"/>
              </a:ext>
            </a:extLst>
          </p:cNvPr>
          <p:cNvSpPr/>
          <p:nvPr/>
        </p:nvSpPr>
        <p:spPr>
          <a:xfrm>
            <a:off x="5418892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y Chain Price Managemen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47D9692-37C4-2C7F-20EB-CC51B44EAAA1}"/>
              </a:ext>
            </a:extLst>
          </p:cNvPr>
          <p:cNvSpPr/>
          <p:nvPr/>
        </p:nvSpPr>
        <p:spPr>
          <a:xfrm>
            <a:off x="6485324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ding Orders Managemen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E614516-D327-159D-26B1-11EDB6779E51}"/>
              </a:ext>
            </a:extLst>
          </p:cNvPr>
          <p:cNvSpPr/>
          <p:nvPr/>
        </p:nvSpPr>
        <p:spPr>
          <a:xfrm>
            <a:off x="7556818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s Management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1DD88D02-8E30-AF9A-93F1-90C752F87163}"/>
              </a:ext>
            </a:extLst>
          </p:cNvPr>
          <p:cNvSpPr/>
          <p:nvPr/>
        </p:nvSpPr>
        <p:spPr>
          <a:xfrm>
            <a:off x="8625442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sing Charges Reporting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46E239B-3AB4-FBF5-B4C5-012EF32EDC49}"/>
              </a:ext>
            </a:extLst>
          </p:cNvPr>
          <p:cNvSpPr/>
          <p:nvPr/>
        </p:nvSpPr>
        <p:spPr>
          <a:xfrm>
            <a:off x="3296795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 Eligibility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18A9F12-1AEB-6107-20FC-73396070AC25}"/>
              </a:ext>
            </a:extLst>
          </p:cNvPr>
          <p:cNvSpPr/>
          <p:nvPr/>
        </p:nvSpPr>
        <p:spPr>
          <a:xfrm>
            <a:off x="4360194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Claim Data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25B5323-1398-B0D5-3E4D-9264896E551D}"/>
              </a:ext>
            </a:extLst>
          </p:cNvPr>
          <p:cNvSpPr/>
          <p:nvPr/>
        </p:nvSpPr>
        <p:spPr>
          <a:xfrm>
            <a:off x="5418892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ability Form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B2F9075-32A9-E150-115A-5320D1E3B1AE}"/>
              </a:ext>
            </a:extLst>
          </p:cNvPr>
          <p:cNvSpPr/>
          <p:nvPr/>
        </p:nvSpPr>
        <p:spPr>
          <a:xfrm>
            <a:off x="6485324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ers Compensation Form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A7299D0-0962-5E16-4628-5A79592FB9AA}"/>
              </a:ext>
            </a:extLst>
          </p:cNvPr>
          <p:cNvSpPr/>
          <p:nvPr/>
        </p:nvSpPr>
        <p:spPr>
          <a:xfrm>
            <a:off x="7556818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ation Missing Field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7AED603-D0EF-5710-9495-F03172424311}"/>
              </a:ext>
            </a:extLst>
          </p:cNvPr>
          <p:cNvSpPr/>
          <p:nvPr/>
        </p:nvSpPr>
        <p:spPr>
          <a:xfrm>
            <a:off x="8625442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ral Management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ADA5690-BCB0-59E6-0823-9C3BD34F4A7B}"/>
              </a:ext>
            </a:extLst>
          </p:cNvPr>
          <p:cNvSpPr/>
          <p:nvPr/>
        </p:nvSpPr>
        <p:spPr>
          <a:xfrm>
            <a:off x="9681802" y="1936299"/>
            <a:ext cx="983458" cy="4697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betes Care Gap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0177E90-9177-4D01-93DF-DF25D55A99A2}"/>
              </a:ext>
            </a:extLst>
          </p:cNvPr>
          <p:cNvSpPr txBox="1"/>
          <p:nvPr/>
        </p:nvSpPr>
        <p:spPr>
          <a:xfrm>
            <a:off x="9672583" y="104615"/>
            <a:ext cx="2235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ision Date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x/x/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xxxx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ED7900C-2F03-5874-5D71-B97A6533EBF9}"/>
              </a:ext>
            </a:extLst>
          </p:cNvPr>
          <p:cNvSpPr/>
          <p:nvPr/>
        </p:nvSpPr>
        <p:spPr>
          <a:xfrm>
            <a:off x="10733141" y="3809495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y Chain PO updates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2F29209-7567-E0EB-CE29-453C5FD07718}"/>
              </a:ext>
            </a:extLst>
          </p:cNvPr>
          <p:cNvSpPr/>
          <p:nvPr/>
        </p:nvSpPr>
        <p:spPr>
          <a:xfrm>
            <a:off x="9668318" y="3809495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iology Bill Updat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83CB9D3-15EA-EE6B-641A-C684501066B5}"/>
              </a:ext>
            </a:extLst>
          </p:cNvPr>
          <p:cNvSpPr/>
          <p:nvPr/>
        </p:nvSpPr>
        <p:spPr>
          <a:xfrm>
            <a:off x="9668318" y="4363407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gery Quality Reporting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3932C30-A59D-7504-7AB6-21BE19F6C9E7}"/>
              </a:ext>
            </a:extLst>
          </p:cNvPr>
          <p:cNvSpPr/>
          <p:nvPr/>
        </p:nvSpPr>
        <p:spPr>
          <a:xfrm>
            <a:off x="9668318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sioning Autom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50743B-3934-26E2-0FB0-93DB29D51883}"/>
              </a:ext>
            </a:extLst>
          </p:cNvPr>
          <p:cNvSpPr/>
          <p:nvPr/>
        </p:nvSpPr>
        <p:spPr>
          <a:xfrm>
            <a:off x="9681802" y="1395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een/Orde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E62201-1DB1-29F2-FA2E-7542D944975E}"/>
              </a:ext>
            </a:extLst>
          </p:cNvPr>
          <p:cNvSpPr/>
          <p:nvPr/>
        </p:nvSpPr>
        <p:spPr>
          <a:xfrm>
            <a:off x="1916130" y="5442470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iology Peds Surve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05B42CD-14E3-348A-9499-3B24A1065EA4}"/>
              </a:ext>
            </a:extLst>
          </p:cNvPr>
          <p:cNvSpPr/>
          <p:nvPr/>
        </p:nvSpPr>
        <p:spPr>
          <a:xfrm>
            <a:off x="838160" y="4903204"/>
            <a:ext cx="983458" cy="469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ate Cons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D795A3-79CE-62FD-D8B0-57A729054989}"/>
              </a:ext>
            </a:extLst>
          </p:cNvPr>
          <p:cNvSpPr/>
          <p:nvPr/>
        </p:nvSpPr>
        <p:spPr>
          <a:xfrm>
            <a:off x="838160" y="3268823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cel &amp; Confirm App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E804EF2-D525-BB4E-0EBA-2AFC20FD655A}"/>
              </a:ext>
            </a:extLst>
          </p:cNvPr>
          <p:cNvSpPr/>
          <p:nvPr/>
        </p:nvSpPr>
        <p:spPr>
          <a:xfrm>
            <a:off x="1916130" y="2494082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ill Medication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46DDD6B-E9EC-D498-8CC5-19FDC6F68C71}"/>
              </a:ext>
            </a:extLst>
          </p:cNvPr>
          <p:cNvSpPr/>
          <p:nvPr/>
        </p:nvSpPr>
        <p:spPr>
          <a:xfrm>
            <a:off x="838160" y="4363407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t Portal Passwor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7751095-F4E9-2963-E11F-723D67B86E06}"/>
              </a:ext>
            </a:extLst>
          </p:cNvPr>
          <p:cNvSpPr/>
          <p:nvPr/>
        </p:nvSpPr>
        <p:spPr>
          <a:xfrm>
            <a:off x="7317183" y="6112695"/>
            <a:ext cx="983458" cy="2798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rtual Assistan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8D75969-D8B6-5D84-9879-24DE99037471}"/>
              </a:ext>
            </a:extLst>
          </p:cNvPr>
          <p:cNvSpPr/>
          <p:nvPr/>
        </p:nvSpPr>
        <p:spPr>
          <a:xfrm>
            <a:off x="1926355" y="4768443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y bill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523340-DED1-4B39-9163-F2F5765BD7D2}"/>
              </a:ext>
            </a:extLst>
          </p:cNvPr>
          <p:cNvSpPr/>
          <p:nvPr/>
        </p:nvSpPr>
        <p:spPr>
          <a:xfrm>
            <a:off x="838160" y="3809495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d Car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E496CC7-E22A-616F-8887-9ABE91B89E95}"/>
              </a:ext>
            </a:extLst>
          </p:cNvPr>
          <p:cNvSpPr/>
          <p:nvPr/>
        </p:nvSpPr>
        <p:spPr>
          <a:xfrm>
            <a:off x="9668318" y="3268823"/>
            <a:ext cx="983458" cy="469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tbo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B14BF78-FA26-93BB-5F65-A962ABBDAC3F}"/>
              </a:ext>
            </a:extLst>
          </p:cNvPr>
          <p:cNvSpPr/>
          <p:nvPr/>
        </p:nvSpPr>
        <p:spPr>
          <a:xfrm>
            <a:off x="1916130" y="4362876"/>
            <a:ext cx="983458" cy="46977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VR Chatbo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7DA0860-B59A-F7A1-728D-FA6ABEDEF543}"/>
              </a:ext>
            </a:extLst>
          </p:cNvPr>
          <p:cNvSpPr/>
          <p:nvPr/>
        </p:nvSpPr>
        <p:spPr>
          <a:xfrm>
            <a:off x="9681802" y="843794"/>
            <a:ext cx="983458" cy="4752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bient AI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FECA9D-AC34-9723-EC30-09D22E63E3E0}"/>
              </a:ext>
            </a:extLst>
          </p:cNvPr>
          <p:cNvSpPr txBox="1"/>
          <p:nvPr/>
        </p:nvSpPr>
        <p:spPr>
          <a:xfrm>
            <a:off x="233200" y="385476"/>
            <a:ext cx="1887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rgbClr val="FF0000"/>
                </a:solidFill>
              </a:rPr>
              <a:t>*Dashboard serves as an example and should be customized to the tools, vendors, and departments of the organization.</a:t>
            </a:r>
          </a:p>
        </p:txBody>
      </p:sp>
    </p:spTree>
    <p:extLst>
      <p:ext uri="{BB962C8B-B14F-4D97-AF65-F5344CB8AC3E}">
        <p14:creationId xmlns:p14="http://schemas.microsoft.com/office/powerpoint/2010/main" val="2117546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CFCF03-2F50-CDAB-0282-A00D3FE621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b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470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Connector 3">
            <a:extLst>
              <a:ext uri="{FF2B5EF4-FFF2-40B4-BE49-F238E27FC236}">
                <a16:creationId xmlns:a16="http://schemas.microsoft.com/office/drawing/2014/main" id="{7ECA5966-E6E6-A350-9090-7C305BB2A951}"/>
              </a:ext>
            </a:extLst>
          </p:cNvPr>
          <p:cNvSpPr/>
          <p:nvPr/>
        </p:nvSpPr>
        <p:spPr>
          <a:xfrm>
            <a:off x="3581400" y="914398"/>
            <a:ext cx="5029200" cy="5029200"/>
          </a:xfrm>
          <a:prstGeom prst="flowChartConnector">
            <a:avLst/>
          </a:prstGeom>
          <a:solidFill>
            <a:schemeClr val="tx2">
              <a:lumMod val="10000"/>
              <a:lumOff val="90000"/>
            </a:schemeClr>
          </a:solidFill>
          <a:ln w="571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F0ED8FBE-ACB1-18DB-A2A7-0CB30B5E0873}"/>
              </a:ext>
            </a:extLst>
          </p:cNvPr>
          <p:cNvSpPr/>
          <p:nvPr/>
        </p:nvSpPr>
        <p:spPr>
          <a:xfrm>
            <a:off x="4267200" y="1600200"/>
            <a:ext cx="3657600" cy="3657600"/>
          </a:xfrm>
          <a:prstGeom prst="flowChartConnector">
            <a:avLst/>
          </a:prstGeom>
          <a:solidFill>
            <a:schemeClr val="tx2">
              <a:lumMod val="25000"/>
              <a:lumOff val="75000"/>
            </a:schemeClr>
          </a:solidFill>
          <a:ln w="571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849D1FC6-43BF-1A98-E944-FA4243F66CB9}"/>
              </a:ext>
            </a:extLst>
          </p:cNvPr>
          <p:cNvSpPr/>
          <p:nvPr/>
        </p:nvSpPr>
        <p:spPr>
          <a:xfrm>
            <a:off x="5181600" y="2514600"/>
            <a:ext cx="1828800" cy="1828800"/>
          </a:xfrm>
          <a:prstGeom prst="flowChartConnector">
            <a:avLst/>
          </a:prstGeom>
          <a:solidFill>
            <a:schemeClr val="tx2">
              <a:lumMod val="50000"/>
              <a:lumOff val="50000"/>
            </a:schemeClr>
          </a:solidFill>
          <a:ln w="5715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32D1D9C-21B5-E0AB-D537-91E8129F8164}"/>
              </a:ext>
            </a:extLst>
          </p:cNvPr>
          <p:cNvCxnSpPr>
            <a:cxnSpLocks/>
          </p:cNvCxnSpPr>
          <p:nvPr/>
        </p:nvCxnSpPr>
        <p:spPr>
          <a:xfrm>
            <a:off x="6096000" y="457199"/>
            <a:ext cx="0" cy="5943600"/>
          </a:xfrm>
          <a:prstGeom prst="straightConnector1">
            <a:avLst/>
          </a:prstGeom>
          <a:ln w="762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85F7FCC-26B8-0169-A7C6-B8266CF606FD}"/>
              </a:ext>
            </a:extLst>
          </p:cNvPr>
          <p:cNvCxnSpPr>
            <a:cxnSpLocks/>
          </p:cNvCxnSpPr>
          <p:nvPr/>
        </p:nvCxnSpPr>
        <p:spPr>
          <a:xfrm rot="16200000">
            <a:off x="6096000" y="457199"/>
            <a:ext cx="0" cy="5943600"/>
          </a:xfrm>
          <a:prstGeom prst="straightConnector1">
            <a:avLst/>
          </a:prstGeom>
          <a:ln w="76200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5EF15B89-7075-77F0-D47D-5470E5A87ACB}"/>
              </a:ext>
            </a:extLst>
          </p:cNvPr>
          <p:cNvSpPr txBox="1"/>
          <p:nvPr/>
        </p:nvSpPr>
        <p:spPr>
          <a:xfrm>
            <a:off x="4660900" y="31234"/>
            <a:ext cx="2870200" cy="33855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External – Consumer Fac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C9E5BD-0FE3-BB7C-8C16-5BE24AC422B8}"/>
              </a:ext>
            </a:extLst>
          </p:cNvPr>
          <p:cNvSpPr txBox="1"/>
          <p:nvPr/>
        </p:nvSpPr>
        <p:spPr>
          <a:xfrm>
            <a:off x="4660900" y="6488664"/>
            <a:ext cx="2870200" cy="3693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ternal - Operation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FABAB7-7096-4556-5C00-B8D5B5663E8F}"/>
              </a:ext>
            </a:extLst>
          </p:cNvPr>
          <p:cNvSpPr txBox="1"/>
          <p:nvPr/>
        </p:nvSpPr>
        <p:spPr>
          <a:xfrm>
            <a:off x="203200" y="3244332"/>
            <a:ext cx="2870200" cy="3693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veryday - Routine Task A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CF979F-5122-97DB-23AA-DAA2BF1880B2}"/>
              </a:ext>
            </a:extLst>
          </p:cNvPr>
          <p:cNvSpPr txBox="1"/>
          <p:nvPr/>
        </p:nvSpPr>
        <p:spPr>
          <a:xfrm>
            <a:off x="9118600" y="3244332"/>
            <a:ext cx="2870200" cy="3693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volutionary AI</a:t>
            </a: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ECE0DADA-9B70-B5A4-1932-B8C9D2FD6068}"/>
              </a:ext>
            </a:extLst>
          </p:cNvPr>
          <p:cNvSpPr/>
          <p:nvPr/>
        </p:nvSpPr>
        <p:spPr>
          <a:xfrm>
            <a:off x="458176" y="194169"/>
            <a:ext cx="1128344" cy="1056028"/>
          </a:xfrm>
          <a:prstGeom prst="flowChartConnector">
            <a:avLst/>
          </a:prstGeom>
          <a:solidFill>
            <a:schemeClr val="tx2">
              <a:lumMod val="10000"/>
              <a:lumOff val="90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7B412F60-78B0-E1A0-8872-2FEE22FAF64C}"/>
              </a:ext>
            </a:extLst>
          </p:cNvPr>
          <p:cNvSpPr/>
          <p:nvPr/>
        </p:nvSpPr>
        <p:spPr>
          <a:xfrm>
            <a:off x="612042" y="338174"/>
            <a:ext cx="820614" cy="768020"/>
          </a:xfrm>
          <a:prstGeom prst="flowChartConnector">
            <a:avLst/>
          </a:prstGeom>
          <a:solidFill>
            <a:schemeClr val="tx2">
              <a:lumMod val="25000"/>
              <a:lumOff val="75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lowchart: Connector 17">
            <a:extLst>
              <a:ext uri="{FF2B5EF4-FFF2-40B4-BE49-F238E27FC236}">
                <a16:creationId xmlns:a16="http://schemas.microsoft.com/office/drawing/2014/main" id="{089F4F66-AD09-9E33-4151-E8F236F6A643}"/>
              </a:ext>
            </a:extLst>
          </p:cNvPr>
          <p:cNvSpPr/>
          <p:nvPr/>
        </p:nvSpPr>
        <p:spPr>
          <a:xfrm>
            <a:off x="817195" y="530178"/>
            <a:ext cx="410307" cy="384010"/>
          </a:xfrm>
          <a:prstGeom prst="flowChartConnector">
            <a:avLst/>
          </a:prstGeom>
          <a:solidFill>
            <a:schemeClr val="tx2">
              <a:lumMod val="50000"/>
              <a:lumOff val="50000"/>
            </a:schemeClr>
          </a:solidFill>
          <a:ln w="952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C33EB7A-E2EA-0CEA-7269-0CB1EB5C1FCF}"/>
              </a:ext>
            </a:extLst>
          </p:cNvPr>
          <p:cNvCxnSpPr>
            <a:cxnSpLocks/>
          </p:cNvCxnSpPr>
          <p:nvPr/>
        </p:nvCxnSpPr>
        <p:spPr>
          <a:xfrm>
            <a:off x="1022349" y="98167"/>
            <a:ext cx="0" cy="1248033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2AFA2CC-F9C7-C7D7-72B6-56B3AEA35F5D}"/>
              </a:ext>
            </a:extLst>
          </p:cNvPr>
          <p:cNvCxnSpPr>
            <a:cxnSpLocks/>
          </p:cNvCxnSpPr>
          <p:nvPr/>
        </p:nvCxnSpPr>
        <p:spPr>
          <a:xfrm rot="16200000">
            <a:off x="1022349" y="55434"/>
            <a:ext cx="0" cy="1333498"/>
          </a:xfrm>
          <a:prstGeom prst="straightConnector1">
            <a:avLst/>
          </a:prstGeom>
          <a:ln w="9525">
            <a:solidFill>
              <a:schemeClr val="tx1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491C5E4-4F0B-BFF3-EAAA-8F1B57B28481}"/>
              </a:ext>
            </a:extLst>
          </p:cNvPr>
          <p:cNvSpPr txBox="1"/>
          <p:nvPr/>
        </p:nvSpPr>
        <p:spPr>
          <a:xfrm>
            <a:off x="107950" y="1437227"/>
            <a:ext cx="18287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robability and feasibility level may depend on organizational readiness, technical infrastructure, and cost.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81F6B61-C08D-C9B1-36E5-892705C5F0EF}"/>
              </a:ext>
            </a:extLst>
          </p:cNvPr>
          <p:cNvCxnSpPr>
            <a:stCxn id="18" idx="7"/>
          </p:cNvCxnSpPr>
          <p:nvPr/>
        </p:nvCxnSpPr>
        <p:spPr>
          <a:xfrm flipV="1">
            <a:off x="1167414" y="194169"/>
            <a:ext cx="851886" cy="3922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A234248-962A-E853-D59A-6F9043AD54DE}"/>
              </a:ext>
            </a:extLst>
          </p:cNvPr>
          <p:cNvCxnSpPr>
            <a:stCxn id="17" idx="6"/>
          </p:cNvCxnSpPr>
          <p:nvPr/>
        </p:nvCxnSpPr>
        <p:spPr>
          <a:xfrm flipV="1">
            <a:off x="1432656" y="530178"/>
            <a:ext cx="830484" cy="19200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B848CED-7C03-2E24-8346-E64B4C11C9B3}"/>
              </a:ext>
            </a:extLst>
          </p:cNvPr>
          <p:cNvCxnSpPr>
            <a:stCxn id="16" idx="5"/>
          </p:cNvCxnSpPr>
          <p:nvPr/>
        </p:nvCxnSpPr>
        <p:spPr>
          <a:xfrm flipV="1">
            <a:off x="1421278" y="998220"/>
            <a:ext cx="841862" cy="9732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06A813E-FA52-C96B-13B2-B198BA7374D3}"/>
              </a:ext>
            </a:extLst>
          </p:cNvPr>
          <p:cNvSpPr txBox="1"/>
          <p:nvPr/>
        </p:nvSpPr>
        <p:spPr>
          <a:xfrm>
            <a:off x="2006011" y="9503"/>
            <a:ext cx="17277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High feasibility / practica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C053BEB-FC4B-97D5-8CD6-1E3BB1D2FB84}"/>
              </a:ext>
            </a:extLst>
          </p:cNvPr>
          <p:cNvSpPr txBox="1"/>
          <p:nvPr/>
        </p:nvSpPr>
        <p:spPr>
          <a:xfrm>
            <a:off x="2297131" y="404978"/>
            <a:ext cx="13334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Medium feasibilit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2DF77B7-5E91-37F7-107A-EA222FE4AF08}"/>
              </a:ext>
            </a:extLst>
          </p:cNvPr>
          <p:cNvSpPr txBox="1"/>
          <p:nvPr/>
        </p:nvSpPr>
        <p:spPr>
          <a:xfrm>
            <a:off x="2284725" y="862178"/>
            <a:ext cx="18697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Low feasibility / aspirational</a:t>
            </a:r>
          </a:p>
        </p:txBody>
      </p: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E12EAA25-AA82-187B-3737-BD18B86636C4}"/>
              </a:ext>
            </a:extLst>
          </p:cNvPr>
          <p:cNvSpPr/>
          <p:nvPr/>
        </p:nvSpPr>
        <p:spPr>
          <a:xfrm>
            <a:off x="8060691" y="4091939"/>
            <a:ext cx="137160" cy="137160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948E9D00-B978-6644-590D-4B1A137BBAF9}"/>
              </a:ext>
            </a:extLst>
          </p:cNvPr>
          <p:cNvSpPr/>
          <p:nvPr/>
        </p:nvSpPr>
        <p:spPr>
          <a:xfrm>
            <a:off x="5459730" y="3634738"/>
            <a:ext cx="137160" cy="137160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lowchart: Connector 36">
            <a:extLst>
              <a:ext uri="{FF2B5EF4-FFF2-40B4-BE49-F238E27FC236}">
                <a16:creationId xmlns:a16="http://schemas.microsoft.com/office/drawing/2014/main" id="{7D63B61A-46A3-50A2-15D7-B7B6BA22F273}"/>
              </a:ext>
            </a:extLst>
          </p:cNvPr>
          <p:cNvSpPr/>
          <p:nvPr/>
        </p:nvSpPr>
        <p:spPr>
          <a:xfrm>
            <a:off x="4993640" y="2449225"/>
            <a:ext cx="137160" cy="137160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Flowchart: Connector 37">
            <a:extLst>
              <a:ext uri="{FF2B5EF4-FFF2-40B4-BE49-F238E27FC236}">
                <a16:creationId xmlns:a16="http://schemas.microsoft.com/office/drawing/2014/main" id="{6467BC76-C8F2-C7A7-D958-33CEEE45A540}"/>
              </a:ext>
            </a:extLst>
          </p:cNvPr>
          <p:cNvSpPr/>
          <p:nvPr/>
        </p:nvSpPr>
        <p:spPr>
          <a:xfrm>
            <a:off x="6513577" y="1201129"/>
            <a:ext cx="137160" cy="137160"/>
          </a:xfrm>
          <a:prstGeom prst="flowChartConnector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EFAC591-7E82-DA62-833A-D19F1238DB94}"/>
              </a:ext>
            </a:extLst>
          </p:cNvPr>
          <p:cNvSpPr txBox="1"/>
          <p:nvPr/>
        </p:nvSpPr>
        <p:spPr>
          <a:xfrm>
            <a:off x="6701536" y="1189020"/>
            <a:ext cx="1705859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E.g. Autonomous patient consul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51AB57-D441-38F8-C728-1637796BD544}"/>
              </a:ext>
            </a:extLst>
          </p:cNvPr>
          <p:cNvSpPr txBox="1"/>
          <p:nvPr/>
        </p:nvSpPr>
        <p:spPr>
          <a:xfrm>
            <a:off x="8271258" y="4052797"/>
            <a:ext cx="1799842" cy="21544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E.g. Autonomous diagnostic too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829D65E-301F-9100-F285-3BD20202EDB7}"/>
              </a:ext>
            </a:extLst>
          </p:cNvPr>
          <p:cNvSpPr txBox="1"/>
          <p:nvPr/>
        </p:nvSpPr>
        <p:spPr>
          <a:xfrm>
            <a:off x="3164841" y="2422112"/>
            <a:ext cx="1743705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E.g. Automated patient schedul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4C1EC68-E78A-254E-87F2-16E0D474A4F2}"/>
              </a:ext>
            </a:extLst>
          </p:cNvPr>
          <p:cNvSpPr txBox="1"/>
          <p:nvPr/>
        </p:nvSpPr>
        <p:spPr>
          <a:xfrm>
            <a:off x="4545330" y="3613664"/>
            <a:ext cx="8636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E.g. AI Scribes</a:t>
            </a:r>
          </a:p>
        </p:txBody>
      </p:sp>
    </p:spTree>
    <p:extLst>
      <p:ext uri="{BB962C8B-B14F-4D97-AF65-F5344CB8AC3E}">
        <p14:creationId xmlns:p14="http://schemas.microsoft.com/office/powerpoint/2010/main" val="2689312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312</Words>
  <Application>Microsoft Office PowerPoint</Application>
  <PresentationFormat>Widescreen</PresentationFormat>
  <Paragraphs>9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.Lucida Grande UI Regular</vt:lpstr>
      <vt:lpstr>Aptos</vt:lpstr>
      <vt:lpstr>Aptos Display</vt:lpstr>
      <vt:lpstr>Arial</vt:lpstr>
      <vt:lpstr>Calibri</vt:lpstr>
      <vt:lpstr>Helvetica</vt:lpstr>
      <vt:lpstr>Office Theme</vt:lpstr>
      <vt:lpstr>think-cell Slide</vt:lpstr>
      <vt:lpstr>PowerPoint Presentation</vt:lpstr>
      <vt:lpstr>PowerPoint Presentation</vt:lpstr>
      <vt:lpstr>Artificial &amp; Robotic Process Automation</vt:lpstr>
      <vt:lpstr>PowerPoint Presentation</vt:lpstr>
      <vt:lpstr>PowerPoint Presentation</vt:lpstr>
    </vt:vector>
  </TitlesOfParts>
  <Company>AS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rgia (Gina) Galanou Luchen</dc:creator>
  <cp:lastModifiedBy>Georgia (Gina) Galanou Luchen</cp:lastModifiedBy>
  <cp:revision>3</cp:revision>
  <dcterms:created xsi:type="dcterms:W3CDTF">2025-04-28T17:21:32Z</dcterms:created>
  <dcterms:modified xsi:type="dcterms:W3CDTF">2025-04-28T17:26:15Z</dcterms:modified>
</cp:coreProperties>
</file>